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3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4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67" r:id="rId1"/>
  </p:sldMasterIdLst>
  <p:notesMasterIdLst>
    <p:notesMasterId r:id="rId24"/>
  </p:notesMasterIdLst>
  <p:handoutMasterIdLst>
    <p:handoutMasterId r:id="rId25"/>
  </p:handoutMasterIdLst>
  <p:sldIdLst>
    <p:sldId id="381" r:id="rId2"/>
    <p:sldId id="738" r:id="rId3"/>
    <p:sldId id="736" r:id="rId4"/>
    <p:sldId id="714" r:id="rId5"/>
    <p:sldId id="715" r:id="rId6"/>
    <p:sldId id="716" r:id="rId7"/>
    <p:sldId id="717" r:id="rId8"/>
    <p:sldId id="718" r:id="rId9"/>
    <p:sldId id="719" r:id="rId10"/>
    <p:sldId id="720" r:id="rId11"/>
    <p:sldId id="721" r:id="rId12"/>
    <p:sldId id="722" r:id="rId13"/>
    <p:sldId id="723" r:id="rId14"/>
    <p:sldId id="724" r:id="rId15"/>
    <p:sldId id="735" r:id="rId16"/>
    <p:sldId id="725" r:id="rId17"/>
    <p:sldId id="726" r:id="rId18"/>
    <p:sldId id="727" r:id="rId19"/>
    <p:sldId id="739" r:id="rId20"/>
    <p:sldId id="740" r:id="rId21"/>
    <p:sldId id="741" r:id="rId22"/>
    <p:sldId id="552" r:id="rId23"/>
  </p:sldIdLst>
  <p:sldSz cx="10668000" cy="7543800"/>
  <p:notesSz cx="6810375" cy="9942513"/>
  <p:custDataLst>
    <p:tags r:id="rId26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500" kern="1200">
        <a:solidFill>
          <a:srgbClr val="191919"/>
        </a:solidFill>
        <a:latin typeface="Verdan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500" kern="1200">
        <a:solidFill>
          <a:srgbClr val="191919"/>
        </a:solidFill>
        <a:latin typeface="Verdan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500" kern="1200">
        <a:solidFill>
          <a:srgbClr val="191919"/>
        </a:solidFill>
        <a:latin typeface="Verdan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500" kern="1200">
        <a:solidFill>
          <a:srgbClr val="191919"/>
        </a:solidFill>
        <a:latin typeface="Verdan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500" kern="1200">
        <a:solidFill>
          <a:srgbClr val="191919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1500" kern="1200">
        <a:solidFill>
          <a:srgbClr val="191919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sz="1500" kern="1200">
        <a:solidFill>
          <a:srgbClr val="191919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sz="1500" kern="1200">
        <a:solidFill>
          <a:srgbClr val="191919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sz="1500" kern="1200">
        <a:solidFill>
          <a:srgbClr val="191919"/>
        </a:solidFill>
        <a:latin typeface="Verdana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0">
          <p15:clr>
            <a:srgbClr val="A4A3A4"/>
          </p15:clr>
        </p15:guide>
        <p15:guide id="2" pos="33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001A"/>
    <a:srgbClr val="191919"/>
    <a:srgbClr val="333333"/>
    <a:srgbClr val="5F5F5F"/>
    <a:srgbClr val="AFAFAF"/>
    <a:srgbClr val="DF0029"/>
    <a:srgbClr val="DDDDDD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047" autoAdjust="0"/>
    <p:restoredTop sz="93060" autoAdjust="0"/>
  </p:normalViewPr>
  <p:slideViewPr>
    <p:cSldViewPr>
      <p:cViewPr>
        <p:scale>
          <a:sx n="80" d="100"/>
          <a:sy n="80" d="100"/>
        </p:scale>
        <p:origin x="1170" y="672"/>
      </p:cViewPr>
      <p:guideLst>
        <p:guide orient="horz" pos="2400"/>
        <p:guide pos="33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5" d="100"/>
        <a:sy n="95" d="100"/>
      </p:scale>
      <p:origin x="0" y="2098"/>
    </p:cViewPr>
  </p:sorterViewPr>
  <p:notesViewPr>
    <p:cSldViewPr>
      <p:cViewPr varScale="1">
        <p:scale>
          <a:sx n="61" d="100"/>
          <a:sy n="61" d="100"/>
        </p:scale>
        <p:origin x="-2674" y="-77"/>
      </p:cViewPr>
      <p:guideLst>
        <p:guide orient="horz" pos="3132"/>
        <p:guide pos="2145"/>
      </p:guideLst>
    </p:cSldViewPr>
  </p:notesViewPr>
  <p:gridSpacing cx="43200" cy="43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16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653" tIns="47326" rIns="94653" bIns="47326" numCol="1" anchor="t" anchorCtr="0" compatLnSpc="1">
            <a:prstTxWarp prst="textNoShape">
              <a:avLst/>
            </a:prstTxWarp>
          </a:bodyPr>
          <a:lstStyle>
            <a:lvl1pPr algn="l" defTabSz="946617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9213" y="0"/>
            <a:ext cx="295116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653" tIns="47326" rIns="94653" bIns="47326" numCol="1" anchor="t" anchorCtr="0" compatLnSpc="1">
            <a:prstTxWarp prst="textNoShape">
              <a:avLst/>
            </a:prstTxWarp>
          </a:bodyPr>
          <a:lstStyle>
            <a:lvl1pPr algn="r" defTabSz="946617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50388"/>
            <a:ext cx="295116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653" tIns="47326" rIns="94653" bIns="47326" numCol="1" anchor="b" anchorCtr="0" compatLnSpc="1">
            <a:prstTxWarp prst="textNoShape">
              <a:avLst/>
            </a:prstTxWarp>
          </a:bodyPr>
          <a:lstStyle>
            <a:lvl1pPr algn="l" defTabSz="946617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9213" y="9450388"/>
            <a:ext cx="295116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653" tIns="47326" rIns="94653" bIns="47326" numCol="1" anchor="b" anchorCtr="0" compatLnSpc="1">
            <a:prstTxWarp prst="textNoShape">
              <a:avLst/>
            </a:prstTxWarp>
          </a:bodyPr>
          <a:lstStyle>
            <a:lvl1pPr algn="r" defTabSz="946617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AC9575FB-A0B7-4AAF-931D-D1CA00D89B8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4922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16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653" tIns="47326" rIns="94653" bIns="47326" numCol="1" anchor="t" anchorCtr="0" compatLnSpc="1">
            <a:prstTxWarp prst="textNoShape">
              <a:avLst/>
            </a:prstTxWarp>
          </a:bodyPr>
          <a:lstStyle>
            <a:lvl1pPr algn="l" defTabSz="946617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9213" y="0"/>
            <a:ext cx="295116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653" tIns="47326" rIns="94653" bIns="47326" numCol="1" anchor="t" anchorCtr="0" compatLnSpc="1">
            <a:prstTxWarp prst="textNoShape">
              <a:avLst/>
            </a:prstTxWarp>
          </a:bodyPr>
          <a:lstStyle>
            <a:lvl1pPr algn="r" defTabSz="946617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9938" y="744538"/>
            <a:ext cx="5275262" cy="3730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050" y="4722813"/>
            <a:ext cx="4994275" cy="447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653" tIns="47326" rIns="94653" bIns="473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en Sie, um die Formate des Vorlagentextes zu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50388"/>
            <a:ext cx="295116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653" tIns="47326" rIns="94653" bIns="47326" numCol="1" anchor="b" anchorCtr="0" compatLnSpc="1">
            <a:prstTxWarp prst="textNoShape">
              <a:avLst/>
            </a:prstTxWarp>
          </a:bodyPr>
          <a:lstStyle>
            <a:lvl1pPr algn="l" defTabSz="946617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9213" y="9450388"/>
            <a:ext cx="295116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653" tIns="47326" rIns="94653" bIns="47326" numCol="1" anchor="b" anchorCtr="0" compatLnSpc="1">
            <a:prstTxWarp prst="textNoShape">
              <a:avLst/>
            </a:prstTxWarp>
          </a:bodyPr>
          <a:lstStyle>
            <a:lvl1pPr algn="r" defTabSz="946617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7728DAC8-814E-4E21-9EDB-4ADF2FBBB5B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88860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71525" y="744538"/>
            <a:ext cx="5275263" cy="3730625"/>
          </a:xfrm>
          <a:ln/>
        </p:spPr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050" y="4721225"/>
            <a:ext cx="4994275" cy="44751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DE" altLang="de-DE" smtClean="0"/>
              <a:t>See next slide!</a:t>
            </a:r>
          </a:p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4063167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0557427-0A2F-457D-A009-2E97159EF79D}" type="slidenum">
              <a:rPr lang="en-GB"/>
              <a:pPr>
                <a:defRPr/>
              </a:pPr>
              <a:t>12</a:t>
            </a:fld>
            <a:endParaRPr lang="en-GB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17438592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AFA8FC2-BD8C-4200-9BCB-E88456A0CFF0}" type="slidenum">
              <a:rPr lang="en-GB"/>
              <a:pPr>
                <a:defRPr/>
              </a:pPr>
              <a:t>13</a:t>
            </a:fld>
            <a:endParaRPr lang="en-GB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9270346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9AD97E8-B24A-48EB-806F-BF2CC34FC2F0}" type="slidenum">
              <a:rPr lang="en-GB"/>
              <a:pPr>
                <a:defRPr/>
              </a:pPr>
              <a:t>14</a:t>
            </a:fld>
            <a:endParaRPr lang="en-GB"/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7007393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49A9524-5249-40C4-96A2-8CD2519F2E55}" type="slidenum">
              <a:rPr lang="en-GB"/>
              <a:pPr>
                <a:defRPr/>
              </a:pPr>
              <a:t>15</a:t>
            </a:fld>
            <a:endParaRPr lang="en-GB"/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6125"/>
            <a:ext cx="5273675" cy="3729038"/>
          </a:xfrm>
          <a:ln/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609" tIns="44303" rIns="88609" bIns="44303"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15996827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9213" y="9450388"/>
            <a:ext cx="2951162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653" tIns="47326" rIns="94653" bIns="47326" anchor="b"/>
          <a:lstStyle/>
          <a:p>
            <a:pPr algn="r" defTabSz="946617">
              <a:defRPr/>
            </a:pPr>
            <a:fld id="{1118CEDD-3CA0-406C-B3E8-65DCE613E333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6617">
                <a:defRPr/>
              </a:pPr>
              <a:t>16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6050" y="534988"/>
            <a:ext cx="7394575" cy="5229225"/>
          </a:xfrm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83300"/>
            <a:ext cx="3465513" cy="57626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8532599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D048DD-A523-48FA-A414-353561280A41}" type="slidenum">
              <a:rPr lang="en-GB"/>
              <a:pPr>
                <a:defRPr/>
              </a:pPr>
              <a:t>17</a:t>
            </a:fld>
            <a:endParaRPr lang="en-GB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0001494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9213" y="9450388"/>
            <a:ext cx="2951162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653" tIns="47326" rIns="94653" bIns="47326" anchor="b"/>
          <a:lstStyle/>
          <a:p>
            <a:pPr algn="r" defTabSz="946617">
              <a:defRPr/>
            </a:pPr>
            <a:fld id="{C2D5BEB6-F732-4901-9268-098F932E07B2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6617">
                <a:defRPr/>
              </a:pPr>
              <a:t>18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6050" y="534988"/>
            <a:ext cx="7394575" cy="5229225"/>
          </a:xfrm>
          <a:ln/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83300"/>
            <a:ext cx="3465513" cy="57626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6478571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29F621-AB3E-4B4C-8E75-EDA35ADB1F8F}" type="slidenum">
              <a:rPr lang="en-GB"/>
              <a:pPr>
                <a:defRPr/>
              </a:pPr>
              <a:t>19</a:t>
            </a:fld>
            <a:endParaRPr lang="en-GB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7423580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74CDA93-66D4-4A7A-A6E9-F3E2E0E5E0B9}" type="slidenum">
              <a:rPr lang="en-GB"/>
              <a:pPr>
                <a:defRPr/>
              </a:pPr>
              <a:t>20</a:t>
            </a:fld>
            <a:endParaRPr lang="en-GB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17033307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F9E885B-B51F-45B6-A137-AF22B2E4BC66}" type="slidenum">
              <a:rPr lang="en-GB"/>
              <a:pPr>
                <a:defRPr/>
              </a:pPr>
              <a:t>21</a:t>
            </a:fld>
            <a:endParaRPr lang="en-GB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03680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9213" y="9450388"/>
            <a:ext cx="2951162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653" tIns="47326" rIns="94653" bIns="47326" anchor="b"/>
          <a:lstStyle/>
          <a:p>
            <a:pPr algn="r" defTabSz="946617">
              <a:defRPr/>
            </a:pPr>
            <a:fld id="{73F326E8-B5CC-4211-B499-635E543105CA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6617">
                <a:defRPr/>
              </a:pPr>
              <a:t>2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6050" y="534988"/>
            <a:ext cx="7394575" cy="52292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83300"/>
            <a:ext cx="3465513" cy="57626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40368017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9213" y="9450388"/>
            <a:ext cx="2951162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653" tIns="47326" rIns="94653" bIns="47326" anchor="b"/>
          <a:lstStyle/>
          <a:p>
            <a:pPr algn="r" defTabSz="946617">
              <a:defRPr/>
            </a:pPr>
            <a:fld id="{15723025-8CA1-4B70-B7E8-FBEEE043FC26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6617">
                <a:defRPr/>
              </a:pPr>
              <a:t>22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6050" y="534988"/>
            <a:ext cx="7394575" cy="5229225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83300"/>
            <a:ext cx="3465513" cy="57626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516277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9213" y="9450388"/>
            <a:ext cx="2951162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653" tIns="47326" rIns="94653" bIns="47326" anchor="b"/>
          <a:lstStyle/>
          <a:p>
            <a:pPr algn="r" defTabSz="946617">
              <a:defRPr/>
            </a:pPr>
            <a:fld id="{B08E54EE-406F-42F2-A79B-C6A97BF028D1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6617">
                <a:defRPr/>
              </a:pPr>
              <a:t>4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6050" y="534988"/>
            <a:ext cx="7394575" cy="52292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83300"/>
            <a:ext cx="3465513" cy="57626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7580388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764D1C2-2066-4558-88BE-B9C7BCB51522}" type="slidenum">
              <a:rPr lang="en-GB"/>
              <a:pPr>
                <a:defRPr/>
              </a:pPr>
              <a:t>6</a:t>
            </a:fld>
            <a:endParaRPr lang="en-GB"/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2368972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E2A45F-1DEB-4E12-858E-E99D4F0D8FD4}" type="slidenum">
              <a:rPr lang="en-GB"/>
              <a:pPr>
                <a:defRPr/>
              </a:pPr>
              <a:t>7</a:t>
            </a:fld>
            <a:endParaRPr lang="en-GB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1112256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79967AD-2D3D-4385-B5DE-1B4B475A3F39}" type="slidenum">
              <a:rPr lang="en-GB"/>
              <a:pPr>
                <a:defRPr/>
              </a:pPr>
              <a:t>8</a:t>
            </a:fld>
            <a:endParaRPr lang="en-GB"/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3862781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54EE89-1DFB-491E-B36D-E22DA85E9274}" type="slidenum">
              <a:rPr lang="en-GB"/>
              <a:pPr>
                <a:defRPr/>
              </a:pPr>
              <a:t>9</a:t>
            </a:fld>
            <a:endParaRPr lang="en-GB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6687901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9213" y="9450388"/>
            <a:ext cx="2951162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653" tIns="47326" rIns="94653" bIns="47326" anchor="b"/>
          <a:lstStyle/>
          <a:p>
            <a:pPr algn="r" defTabSz="946617">
              <a:defRPr/>
            </a:pPr>
            <a:fld id="{46DCF11C-12EC-4ACE-AD25-A70C3308A124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6617">
                <a:defRPr/>
              </a:pPr>
              <a:t>10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6050" y="534988"/>
            <a:ext cx="7394575" cy="5229225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83300"/>
            <a:ext cx="3465513" cy="57626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219866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DC71924-00AB-41AF-BAA5-C5CDD2910163}" type="slidenum">
              <a:rPr lang="en-GB"/>
              <a:pPr>
                <a:defRPr/>
              </a:pPr>
              <a:t>11</a:t>
            </a:fld>
            <a:endParaRPr lang="en-GB"/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1924625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w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cs-CZ" altLang="de-DE" smtClean="0"/>
          </a:p>
        </p:txBody>
      </p:sp>
      <p:pic>
        <p:nvPicPr>
          <p:cNvPr id="5" name="Picture 3" descr="Kopf_Startfolie dunkler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68000" cy="263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438" y="752475"/>
            <a:ext cx="1357312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449513" y="2363788"/>
            <a:ext cx="8220075" cy="2698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cs-CZ" altLang="de-DE" smtClean="0"/>
          </a:p>
        </p:txBody>
      </p:sp>
      <p:sp>
        <p:nvSpPr>
          <p:cNvPr id="26522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890963" y="1404938"/>
            <a:ext cx="6472237" cy="44291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6522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889375" y="5213350"/>
            <a:ext cx="5797550" cy="1173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581305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07922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405814" y="415926"/>
            <a:ext cx="1981199" cy="6213475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2457450" y="415926"/>
            <a:ext cx="5795963" cy="6213475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98026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3873500" y="228600"/>
            <a:ext cx="6513513" cy="7048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98111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83688" y="415925"/>
            <a:ext cx="6513513" cy="51752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95463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42963" y="4848226"/>
            <a:ext cx="9067800" cy="149701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42963" y="3197226"/>
            <a:ext cx="9067800" cy="165100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805483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2457450" y="2332038"/>
            <a:ext cx="3511551" cy="42973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21401" y="2332038"/>
            <a:ext cx="3513137" cy="42973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1890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3400" y="301625"/>
            <a:ext cx="9601200" cy="12573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533400" y="1689101"/>
            <a:ext cx="4713288" cy="7032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533400" y="2392363"/>
            <a:ext cx="4713288" cy="43465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5419725" y="1689101"/>
            <a:ext cx="4714875" cy="7032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5419725" y="2392363"/>
            <a:ext cx="4714875" cy="43465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022788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11066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427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3401" y="300039"/>
            <a:ext cx="3509963" cy="12779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170364" y="300038"/>
            <a:ext cx="5964238" cy="64389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533401" y="1577975"/>
            <a:ext cx="3509963" cy="51609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425680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090737" y="5280025"/>
            <a:ext cx="6400800" cy="6238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2090737" y="674688"/>
            <a:ext cx="6400800" cy="452596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2090737" y="5903913"/>
            <a:ext cx="6400800" cy="8858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6417195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Neuer Kopf dunkelgrau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68000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613" y="327025"/>
            <a:ext cx="719137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4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2449513" y="1008063"/>
            <a:ext cx="8220075" cy="2698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cs-CZ" altLang="de-DE" smtClean="0"/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4537075" y="428625"/>
            <a:ext cx="611822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cs-CZ" altLang="de-DE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873500" y="415925"/>
            <a:ext cx="6513513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Headline</a:t>
            </a:r>
          </a:p>
        </p:txBody>
      </p:sp>
      <p:sp>
        <p:nvSpPr>
          <p:cNvPr id="103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57450" y="2332038"/>
            <a:ext cx="7177088" cy="429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</a:t>
            </a:r>
          </a:p>
          <a:p>
            <a:pPr lvl="1"/>
            <a:r>
              <a:rPr lang="de-DE" altLang="de-DE" smtClean="0"/>
              <a:t>Erste Ebene</a:t>
            </a:r>
          </a:p>
          <a:p>
            <a:pPr lvl="2"/>
            <a:r>
              <a:rPr lang="de-DE" altLang="de-DE" smtClean="0"/>
              <a:t>Zweite Ebene</a:t>
            </a:r>
          </a:p>
          <a:p>
            <a:pPr lvl="3"/>
            <a:r>
              <a:rPr lang="de-DE" altLang="de-DE" smtClean="0"/>
              <a:t>- Drit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02" r:id="rId2"/>
    <p:sldLayoutId id="2147484203" r:id="rId3"/>
    <p:sldLayoutId id="2147484204" r:id="rId4"/>
    <p:sldLayoutId id="2147484205" r:id="rId5"/>
    <p:sldLayoutId id="2147484206" r:id="rId6"/>
    <p:sldLayoutId id="2147484207" r:id="rId7"/>
    <p:sldLayoutId id="2147484208" r:id="rId8"/>
    <p:sldLayoutId id="2147484209" r:id="rId9"/>
    <p:sldLayoutId id="2147484210" r:id="rId10"/>
    <p:sldLayoutId id="2147484211" r:id="rId11"/>
    <p:sldLayoutId id="2147484212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5pPr>
      <a:lvl6pPr marL="4572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6pPr>
      <a:lvl7pPr marL="9144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7pPr>
      <a:lvl8pPr marL="13716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8pPr>
      <a:lvl9pPr marL="18288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DF0029"/>
        </a:buClr>
        <a:buFont typeface="Wingdings" pitchFamily="2" charset="2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88913" indent="-187325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2pPr>
      <a:lvl3pPr marL="347663" indent="-157163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Verdana" pitchFamily="34" charset="0"/>
        <a:buChar char="□"/>
        <a:defRPr sz="1500">
          <a:solidFill>
            <a:schemeClr val="tx1"/>
          </a:solidFill>
          <a:latin typeface="+mn-lt"/>
        </a:defRPr>
      </a:lvl3pPr>
      <a:lvl4pPr marL="711200" indent="-16033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defRPr sz="1500">
          <a:solidFill>
            <a:schemeClr val="tx1"/>
          </a:solidFill>
          <a:latin typeface="+mn-lt"/>
        </a:defRPr>
      </a:lvl4pPr>
      <a:lvl5pPr marL="2135188" indent="-228600" algn="l" rtl="0" eaLnBrk="0" fontAlgn="base" hangingPunct="0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rgbClr val="191919"/>
          </a:solidFill>
          <a:latin typeface="+mn-lt"/>
        </a:defRPr>
      </a:lvl5pPr>
      <a:lvl6pPr marL="2592388" indent="-228600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rgbClr val="191919"/>
          </a:solidFill>
          <a:latin typeface="+mn-lt"/>
        </a:defRPr>
      </a:lvl6pPr>
      <a:lvl7pPr marL="3049588" indent="-228600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rgbClr val="191919"/>
          </a:solidFill>
          <a:latin typeface="+mn-lt"/>
        </a:defRPr>
      </a:lvl7pPr>
      <a:lvl8pPr marL="3506788" indent="-228600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rgbClr val="191919"/>
          </a:solidFill>
          <a:latin typeface="+mn-lt"/>
        </a:defRPr>
      </a:lvl8pPr>
      <a:lvl9pPr marL="3963988" indent="-228600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rgbClr val="191919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0" y="2598738"/>
            <a:ext cx="10668000" cy="15494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4059" tIns="52029" rIns="104059" bIns="52029" anchor="ctr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cs-CZ" altLang="de-DE">
              <a:solidFill>
                <a:srgbClr val="191919"/>
              </a:solidFill>
            </a:endParaRPr>
          </a:p>
        </p:txBody>
      </p:sp>
      <p:sp>
        <p:nvSpPr>
          <p:cNvPr id="307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890963" y="1404938"/>
            <a:ext cx="4078287" cy="442912"/>
          </a:xfrm>
        </p:spPr>
        <p:txBody>
          <a:bodyPr/>
          <a:lstStyle/>
          <a:p>
            <a:pPr eaLnBrk="1" hangingPunct="1"/>
            <a:r>
              <a:rPr lang="de-DE" altLang="de-DE" sz="1800" smtClean="0"/>
              <a:t>Hydrojet OXL Series</a:t>
            </a:r>
          </a:p>
        </p:txBody>
      </p:sp>
      <p:sp>
        <p:nvSpPr>
          <p:cNvPr id="3076" name="Rectangle 11"/>
          <p:cNvSpPr>
            <a:spLocks noChangeArrowheads="1"/>
          </p:cNvSpPr>
          <p:nvPr/>
        </p:nvSpPr>
        <p:spPr bwMode="auto">
          <a:xfrm>
            <a:off x="3906838" y="6148388"/>
            <a:ext cx="5768975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defTabSz="912813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defTabSz="912813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defTabSz="912813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defTabSz="912813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defTabSz="912813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defTabSz="912813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defTabSz="912813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defTabSz="912813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altLang="de-DE" dirty="0" err="1">
                <a:solidFill>
                  <a:schemeClr val="bg1"/>
                </a:solidFill>
              </a:rPr>
              <a:t>Presented</a:t>
            </a:r>
            <a:r>
              <a:rPr lang="de-DE" altLang="de-DE" dirty="0">
                <a:solidFill>
                  <a:schemeClr val="bg1"/>
                </a:solidFill>
              </a:rPr>
              <a:t> </a:t>
            </a:r>
            <a:r>
              <a:rPr lang="de-DE" altLang="de-DE" dirty="0" err="1">
                <a:solidFill>
                  <a:schemeClr val="bg1"/>
                </a:solidFill>
              </a:rPr>
              <a:t>by</a:t>
            </a:r>
            <a:r>
              <a:rPr lang="de-DE" altLang="de-DE" dirty="0">
                <a:solidFill>
                  <a:schemeClr val="bg1"/>
                </a:solidFill>
              </a:rPr>
              <a:t>: Matthias Jäger</a:t>
            </a:r>
            <a:r>
              <a:rPr lang="de-DE" altLang="de-DE" i="1" dirty="0">
                <a:solidFill>
                  <a:schemeClr val="bg1"/>
                </a:solidFill>
              </a:rPr>
              <a:t/>
            </a:r>
            <a:br>
              <a:rPr lang="de-DE" altLang="de-DE" i="1" dirty="0">
                <a:solidFill>
                  <a:schemeClr val="bg1"/>
                </a:solidFill>
              </a:rPr>
            </a:br>
            <a:r>
              <a:rPr lang="de-DE" altLang="de-DE" i="1" dirty="0" smtClean="0">
                <a:solidFill>
                  <a:schemeClr val="bg1"/>
                </a:solidFill>
              </a:rPr>
              <a:t>Shanghai, China</a:t>
            </a:r>
            <a:endParaRPr lang="de-DE" altLang="de-DE" i="1" dirty="0">
              <a:solidFill>
                <a:schemeClr val="bg1"/>
              </a:solidFill>
            </a:endParaRPr>
          </a:p>
        </p:txBody>
      </p:sp>
      <p:sp>
        <p:nvSpPr>
          <p:cNvPr id="3077" name="Rectangle 3"/>
          <p:cNvSpPr>
            <a:spLocks noChangeArrowheads="1"/>
          </p:cNvSpPr>
          <p:nvPr/>
        </p:nvSpPr>
        <p:spPr bwMode="auto">
          <a:xfrm>
            <a:off x="0" y="2597150"/>
            <a:ext cx="10668000" cy="1698625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de-DE" altLang="de-DE">
              <a:solidFill>
                <a:srgbClr val="191919"/>
              </a:solidFill>
            </a:endParaRPr>
          </a:p>
        </p:txBody>
      </p:sp>
      <p:pic>
        <p:nvPicPr>
          <p:cNvPr id="3078" name="Picture 2" descr="image0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97" b="17392"/>
          <a:stretch>
            <a:fillRect/>
          </a:stretch>
        </p:blipFill>
        <p:spPr bwMode="auto">
          <a:xfrm>
            <a:off x="2439988" y="2346325"/>
            <a:ext cx="3697287" cy="194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12291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de-DE" altLang="de-DE">
              <a:solidFill>
                <a:srgbClr val="191919"/>
              </a:solidFill>
            </a:endParaRPr>
          </a:p>
        </p:txBody>
      </p:sp>
      <p:sp>
        <p:nvSpPr>
          <p:cNvPr id="12292" name="Text Box 4"/>
          <p:cNvSpPr txBox="1">
            <a:spLocks noChangeArrowheads="1"/>
          </p:cNvSpPr>
          <p:nvPr/>
        </p:nvSpPr>
        <p:spPr bwMode="auto">
          <a:xfrm>
            <a:off x="2067862" y="3375325"/>
            <a:ext cx="6532275" cy="86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  <a:buClrTx/>
              <a:buFontTx/>
              <a:buNone/>
            </a:pPr>
            <a:r>
              <a:rPr lang="de-DE" altLang="de-DE" sz="3600" b="1" dirty="0">
                <a:solidFill>
                  <a:schemeClr val="bg1"/>
                </a:solidFill>
              </a:rPr>
              <a:t>System Functionality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el 1"/>
          <p:cNvSpPr>
            <a:spLocks noGrp="1"/>
          </p:cNvSpPr>
          <p:nvPr>
            <p:ph type="title"/>
          </p:nvPr>
        </p:nvSpPr>
        <p:spPr>
          <a:xfrm>
            <a:off x="2828400" y="445500"/>
            <a:ext cx="6513513" cy="401550"/>
          </a:xfrm>
        </p:spPr>
        <p:txBody>
          <a:bodyPr/>
          <a:lstStyle/>
          <a:p>
            <a:r>
              <a:rPr lang="de-DE" altLang="de-DE" dirty="0" smtClean="0"/>
              <a:t>Feature items: </a:t>
            </a:r>
            <a:r>
              <a:rPr lang="de-DE" altLang="de-DE" dirty="0" smtClean="0"/>
              <a:t>High Pressure Cleaning</a:t>
            </a:r>
            <a:endParaRPr lang="de-DE" altLang="de-DE" dirty="0" smtClean="0"/>
          </a:p>
        </p:txBody>
      </p:sp>
      <p:sp>
        <p:nvSpPr>
          <p:cNvPr id="11" name="Textfeld 1"/>
          <p:cNvSpPr txBox="1">
            <a:spLocks noChangeArrowheads="1"/>
          </p:cNvSpPr>
          <p:nvPr/>
        </p:nvSpPr>
        <p:spPr bwMode="auto">
          <a:xfrm>
            <a:off x="1791600" y="6100762"/>
            <a:ext cx="7058025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  <a:defRPr/>
            </a:pPr>
            <a:r>
              <a:rPr lang="de-DE" altLang="de-DE" sz="2000" b="1" dirty="0" smtClean="0"/>
              <a:t>Two high pressure spray heads (1) operated via two high pressure pumps (2)</a:t>
            </a:r>
          </a:p>
          <a:p>
            <a:pPr marL="0" indent="0" eaLnBrk="1" hangingPunct="1">
              <a:defRPr/>
            </a:pPr>
            <a:endParaRPr lang="de-DE" altLang="de-DE" sz="2000" b="1" dirty="0" smtClean="0"/>
          </a:p>
          <a:p>
            <a:pPr eaLnBrk="1" hangingPunct="1">
              <a:buFont typeface="Wingdings" pitchFamily="2" charset="2"/>
              <a:buChar char="§"/>
              <a:defRPr/>
            </a:pPr>
            <a:r>
              <a:rPr lang="de-DE" altLang="de-DE" sz="2000" b="1" dirty="0" smtClean="0"/>
              <a:t>Independent operation from disposal pump</a:t>
            </a:r>
            <a:endParaRPr lang="de-DE" altLang="de-DE" sz="2400" b="1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412" y="1481137"/>
            <a:ext cx="9401175" cy="45815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Textfeld 1"/>
          <p:cNvSpPr txBox="1">
            <a:spLocks noChangeArrowheads="1"/>
          </p:cNvSpPr>
          <p:nvPr/>
        </p:nvSpPr>
        <p:spPr bwMode="auto">
          <a:xfrm>
            <a:off x="106363" y="5591175"/>
            <a:ext cx="70580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de-DE" altLang="de-DE" sz="2000" b="1">
                <a:solidFill>
                  <a:srgbClr val="191919"/>
                </a:solidFill>
              </a:rPr>
              <a:t>Nominal max. pressure of pump: 175 bars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de-DE" altLang="de-DE" sz="2000" b="1">
                <a:solidFill>
                  <a:srgbClr val="191919"/>
                </a:solidFill>
              </a:rPr>
              <a:t>Operating pressure of spray head: 150 bars</a:t>
            </a:r>
            <a:endParaRPr lang="de-DE" altLang="de-DE" sz="2400" b="1">
              <a:solidFill>
                <a:srgbClr val="191919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828400" y="445500"/>
            <a:ext cx="6513513" cy="401550"/>
          </a:xfrm>
        </p:spPr>
        <p:txBody>
          <a:bodyPr/>
          <a:lstStyle/>
          <a:p>
            <a:r>
              <a:rPr lang="de-DE" altLang="de-DE" dirty="0" smtClean="0"/>
              <a:t>Feature items: </a:t>
            </a:r>
            <a:r>
              <a:rPr lang="de-DE" altLang="de-DE" dirty="0" smtClean="0"/>
              <a:t>High Pressure Cleaning</a:t>
            </a:r>
            <a:endParaRPr lang="de-DE" altLang="de-DE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8800" y="1741500"/>
            <a:ext cx="3248025" cy="55911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Textfeld 1"/>
          <p:cNvSpPr txBox="1">
            <a:spLocks noChangeArrowheads="1"/>
          </p:cNvSpPr>
          <p:nvPr/>
        </p:nvSpPr>
        <p:spPr bwMode="auto">
          <a:xfrm>
            <a:off x="106363" y="5591175"/>
            <a:ext cx="7058025" cy="193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de-DE" altLang="de-DE" sz="2000" b="1">
                <a:solidFill>
                  <a:srgbClr val="191919"/>
                </a:solidFill>
              </a:rPr>
              <a:t>Pressure pump is a brand product of Kärcher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Char char="§"/>
            </a:pPr>
            <a:endParaRPr lang="de-DE" altLang="de-DE" sz="2000" b="1">
              <a:solidFill>
                <a:srgbClr val="191919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de-DE" altLang="de-DE" sz="2000" b="1">
                <a:solidFill>
                  <a:srgbClr val="191919"/>
                </a:solidFill>
              </a:rPr>
              <a:t>Pump is being used for decades in high pressure cleaning devices in millions of high pressure cleaners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Char char="§"/>
            </a:pPr>
            <a:endParaRPr lang="de-DE" altLang="de-DE" sz="2000" b="1">
              <a:solidFill>
                <a:srgbClr val="191919"/>
              </a:solidFill>
            </a:endParaRPr>
          </a:p>
        </p:txBody>
      </p:sp>
      <p:pic>
        <p:nvPicPr>
          <p:cNvPr id="15364" name="Picture 10" descr="C:\Users\cbauer\Desktop\Bauer, Christian\Auslandsg\UAE\Projekte\EKFC\Bilder Fertigung\September 9 (47)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438" y="3675063"/>
            <a:ext cx="2181225" cy="163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Textfeld 1"/>
          <p:cNvSpPr txBox="1">
            <a:spLocks noChangeArrowheads="1"/>
          </p:cNvSpPr>
          <p:nvPr/>
        </p:nvSpPr>
        <p:spPr bwMode="auto">
          <a:xfrm>
            <a:off x="7839075" y="5353050"/>
            <a:ext cx="24193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de-DE" altLang="de-DE" sz="1200" b="1">
                <a:solidFill>
                  <a:srgbClr val="191919"/>
                </a:solidFill>
              </a:rPr>
              <a:t>High pressure pump</a:t>
            </a:r>
          </a:p>
        </p:txBody>
      </p:sp>
      <p:pic>
        <p:nvPicPr>
          <p:cNvPr id="153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1439863"/>
            <a:ext cx="3657600" cy="339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367" name="Gerade Verbindung 20"/>
          <p:cNvCxnSpPr>
            <a:cxnSpLocks noChangeShapeType="1"/>
          </p:cNvCxnSpPr>
          <p:nvPr/>
        </p:nvCxnSpPr>
        <p:spPr bwMode="auto">
          <a:xfrm flipH="1" flipV="1">
            <a:off x="2914650" y="2562225"/>
            <a:ext cx="5684838" cy="1382713"/>
          </a:xfrm>
          <a:prstGeom prst="line">
            <a:avLst/>
          </a:prstGeom>
          <a:noFill/>
          <a:ln w="41275" algn="ctr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Titel 1"/>
          <p:cNvSpPr txBox="1">
            <a:spLocks/>
          </p:cNvSpPr>
          <p:nvPr/>
        </p:nvSpPr>
        <p:spPr bwMode="auto">
          <a:xfrm>
            <a:off x="2828400" y="445500"/>
            <a:ext cx="6513513" cy="40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altLang="de-DE" kern="0" smtClean="0"/>
              <a:t>Feature items: High Pressure Cleaning</a:t>
            </a:r>
            <a:endParaRPr lang="de-DE" altLang="de-DE" kern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1"/>
          <p:cNvSpPr txBox="1">
            <a:spLocks noChangeArrowheads="1"/>
          </p:cNvSpPr>
          <p:nvPr/>
        </p:nvSpPr>
        <p:spPr bwMode="auto">
          <a:xfrm>
            <a:off x="106363" y="5591175"/>
            <a:ext cx="7058025" cy="200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  <a:defRPr/>
            </a:pPr>
            <a:r>
              <a:rPr lang="de-DE" altLang="de-DE" sz="2000" b="1" smtClean="0"/>
              <a:t>One disposal pump for regular emptying of separator body</a:t>
            </a:r>
          </a:p>
          <a:p>
            <a:pPr marL="0" indent="0" eaLnBrk="1" hangingPunct="1">
              <a:defRPr/>
            </a:pPr>
            <a:endParaRPr lang="de-DE" altLang="de-DE" sz="2000" b="1" smtClean="0"/>
          </a:p>
          <a:p>
            <a:pPr eaLnBrk="1" hangingPunct="1">
              <a:buFont typeface="Wingdings" pitchFamily="2" charset="2"/>
              <a:buChar char="§"/>
              <a:defRPr/>
            </a:pPr>
            <a:r>
              <a:rPr lang="de-DE" altLang="de-DE" sz="2000" b="1" u="sng" smtClean="0"/>
              <a:t>Independent operation </a:t>
            </a:r>
            <a:r>
              <a:rPr lang="de-DE" altLang="de-DE" sz="2000" b="1" smtClean="0"/>
              <a:t>from cleaning system</a:t>
            </a:r>
          </a:p>
          <a:p>
            <a:pPr eaLnBrk="1" hangingPunct="1">
              <a:buFont typeface="Wingdings" pitchFamily="2" charset="2"/>
              <a:buChar char="§"/>
              <a:defRPr/>
            </a:pPr>
            <a:endParaRPr lang="de-DE" altLang="de-DE" sz="2000" b="1"/>
          </a:p>
          <a:p>
            <a:pPr eaLnBrk="1" hangingPunct="1">
              <a:buFont typeface="Wingdings" pitchFamily="2" charset="2"/>
              <a:buChar char="§"/>
              <a:defRPr/>
            </a:pPr>
            <a:r>
              <a:rPr lang="de-DE" altLang="de-DE" sz="2000" b="1" smtClean="0"/>
              <a:t>With contrablock cutting system</a:t>
            </a:r>
            <a:endParaRPr lang="de-DE" altLang="de-DE" sz="2400" b="1" smtClean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828400" y="445500"/>
            <a:ext cx="6513513" cy="401550"/>
          </a:xfrm>
        </p:spPr>
        <p:txBody>
          <a:bodyPr/>
          <a:lstStyle/>
          <a:p>
            <a:r>
              <a:rPr lang="de-DE" altLang="de-DE" dirty="0" smtClean="0"/>
              <a:t>Feature items: </a:t>
            </a:r>
            <a:r>
              <a:rPr lang="de-DE" altLang="de-DE" dirty="0" smtClean="0"/>
              <a:t>High Pressure Cleaning</a:t>
            </a:r>
            <a:endParaRPr lang="de-DE" altLang="de-DE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4400" y="1525500"/>
            <a:ext cx="5086350" cy="38576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el 1"/>
          <p:cNvSpPr>
            <a:spLocks noGrp="1"/>
          </p:cNvSpPr>
          <p:nvPr>
            <p:ph type="title"/>
          </p:nvPr>
        </p:nvSpPr>
        <p:spPr>
          <a:xfrm>
            <a:off x="2785200" y="359100"/>
            <a:ext cx="6513513" cy="487950"/>
          </a:xfrm>
        </p:spPr>
        <p:txBody>
          <a:bodyPr/>
          <a:lstStyle/>
          <a:p>
            <a:r>
              <a:rPr lang="de-DE" altLang="de-DE" dirty="0" smtClean="0"/>
              <a:t>Special Pump  AS840 (3,7 kW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1920" y="5413500"/>
            <a:ext cx="2636080" cy="199927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800" y="1395900"/>
            <a:ext cx="7839075" cy="59531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18435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de-DE" altLang="de-DE">
              <a:solidFill>
                <a:srgbClr val="191919"/>
              </a:solidFill>
            </a:endParaRPr>
          </a:p>
        </p:txBody>
      </p:sp>
      <p:sp>
        <p:nvSpPr>
          <p:cNvPr id="18436" name="Text Box 4"/>
          <p:cNvSpPr txBox="1">
            <a:spLocks noChangeArrowheads="1"/>
          </p:cNvSpPr>
          <p:nvPr/>
        </p:nvSpPr>
        <p:spPr bwMode="auto">
          <a:xfrm>
            <a:off x="965993" y="2828131"/>
            <a:ext cx="8736013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  <a:buClrTx/>
              <a:buFontTx/>
              <a:buNone/>
            </a:pPr>
            <a:r>
              <a:rPr lang="de-DE" altLang="de-DE" sz="3600" b="1" dirty="0">
                <a:solidFill>
                  <a:schemeClr val="bg1"/>
                </a:solidFill>
              </a:rPr>
              <a:t>Two pump systems for </a:t>
            </a:r>
            <a:br>
              <a:rPr lang="de-DE" altLang="de-DE" sz="3600" b="1" dirty="0">
                <a:solidFill>
                  <a:schemeClr val="bg1"/>
                </a:solidFill>
              </a:rPr>
            </a:br>
            <a:r>
              <a:rPr lang="de-DE" altLang="de-DE" sz="3600" b="1" dirty="0">
                <a:solidFill>
                  <a:schemeClr val="bg1"/>
                </a:solidFill>
              </a:rPr>
              <a:t>two processes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Titel 1"/>
          <p:cNvSpPr>
            <a:spLocks noGrp="1"/>
          </p:cNvSpPr>
          <p:nvPr>
            <p:ph type="title"/>
          </p:nvPr>
        </p:nvSpPr>
        <p:spPr>
          <a:xfrm>
            <a:off x="2897981" y="400756"/>
            <a:ext cx="6513513" cy="444750"/>
          </a:xfrm>
        </p:spPr>
        <p:txBody>
          <a:bodyPr/>
          <a:lstStyle/>
          <a:p>
            <a:r>
              <a:rPr lang="de-DE" altLang="de-DE" dirty="0" smtClean="0"/>
              <a:t>Two </a:t>
            </a:r>
            <a:r>
              <a:rPr lang="de-DE" altLang="de-DE" dirty="0" smtClean="0"/>
              <a:t>Pump Systems </a:t>
            </a:r>
            <a:r>
              <a:rPr lang="de-DE" altLang="de-DE" dirty="0" smtClean="0"/>
              <a:t>for </a:t>
            </a:r>
            <a:r>
              <a:rPr lang="de-DE" altLang="de-DE" dirty="0" smtClean="0"/>
              <a:t>Two Processes</a:t>
            </a:r>
            <a:endParaRPr lang="de-DE" altLang="de-DE" dirty="0" smtClean="0"/>
          </a:p>
        </p:txBody>
      </p:sp>
      <p:sp>
        <p:nvSpPr>
          <p:cNvPr id="19462" name="Textfeld 1"/>
          <p:cNvSpPr txBox="1">
            <a:spLocks noChangeArrowheads="1"/>
          </p:cNvSpPr>
          <p:nvPr/>
        </p:nvSpPr>
        <p:spPr bwMode="auto">
          <a:xfrm>
            <a:off x="6845300" y="3212469"/>
            <a:ext cx="3759200" cy="163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de-DE" altLang="de-DE" sz="2000" dirty="0">
                <a:solidFill>
                  <a:srgbClr val="191919"/>
                </a:solidFill>
              </a:rPr>
              <a:t>Cleaning system (1) operates independently from disposal system operating with one pump only (2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200" y="1827900"/>
            <a:ext cx="6276975" cy="45339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20483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de-DE" altLang="de-DE">
              <a:solidFill>
                <a:srgbClr val="191919"/>
              </a:solidFill>
            </a:endParaRPr>
          </a:p>
        </p:txBody>
      </p:sp>
      <p:sp>
        <p:nvSpPr>
          <p:cNvPr id="20484" name="Text Box 4"/>
          <p:cNvSpPr txBox="1">
            <a:spLocks noChangeArrowheads="1"/>
          </p:cNvSpPr>
          <p:nvPr/>
        </p:nvSpPr>
        <p:spPr bwMode="auto">
          <a:xfrm>
            <a:off x="798000" y="2809681"/>
            <a:ext cx="8736013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  <a:buClrTx/>
              <a:buFontTx/>
              <a:buNone/>
            </a:pPr>
            <a:r>
              <a:rPr lang="de-DE" altLang="de-DE" sz="3600" b="1" dirty="0">
                <a:solidFill>
                  <a:schemeClr val="bg1"/>
                </a:solidFill>
              </a:rPr>
              <a:t>Product and Installation Examples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el 1"/>
          <p:cNvSpPr>
            <a:spLocks noGrp="1"/>
          </p:cNvSpPr>
          <p:nvPr>
            <p:ph type="title"/>
          </p:nvPr>
        </p:nvSpPr>
        <p:spPr>
          <a:xfrm>
            <a:off x="2838087" y="389550"/>
            <a:ext cx="6513513" cy="444750"/>
          </a:xfrm>
        </p:spPr>
        <p:txBody>
          <a:bodyPr/>
          <a:lstStyle/>
          <a:p>
            <a:r>
              <a:rPr lang="de-DE" altLang="de-DE" dirty="0" smtClean="0"/>
              <a:t>Hydrojet OXL NS 15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2400" y="1611900"/>
            <a:ext cx="7600950" cy="56102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4099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de-DE" altLang="de-DE">
              <a:solidFill>
                <a:srgbClr val="191919"/>
              </a:solidFill>
            </a:endParaRPr>
          </a:p>
        </p:txBody>
      </p:sp>
      <p:sp>
        <p:nvSpPr>
          <p:cNvPr id="4100" name="Text Box 4"/>
          <p:cNvSpPr txBox="1">
            <a:spLocks noChangeArrowheads="1"/>
          </p:cNvSpPr>
          <p:nvPr/>
        </p:nvSpPr>
        <p:spPr bwMode="auto">
          <a:xfrm>
            <a:off x="3644662" y="3288225"/>
            <a:ext cx="3378675" cy="95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50000"/>
              </a:spcBef>
              <a:buClrTx/>
              <a:buFontTx/>
              <a:buNone/>
            </a:pPr>
            <a:r>
              <a:rPr lang="de-DE" altLang="de-DE" sz="3600" b="1" dirty="0">
                <a:solidFill>
                  <a:schemeClr val="bg1"/>
                </a:solidFill>
              </a:rPr>
              <a:t>Application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el 1"/>
          <p:cNvSpPr>
            <a:spLocks noGrp="1"/>
          </p:cNvSpPr>
          <p:nvPr>
            <p:ph type="title"/>
          </p:nvPr>
        </p:nvSpPr>
        <p:spPr>
          <a:xfrm>
            <a:off x="2785200" y="402300"/>
            <a:ext cx="6513513" cy="444750"/>
          </a:xfrm>
        </p:spPr>
        <p:txBody>
          <a:bodyPr/>
          <a:lstStyle/>
          <a:p>
            <a:r>
              <a:rPr lang="de-DE" altLang="de-DE" dirty="0" smtClean="0"/>
              <a:t>Hydrojet OXL NS 25 (bodies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1200" y="2000700"/>
            <a:ext cx="6695550" cy="479847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el 1"/>
          <p:cNvSpPr>
            <a:spLocks noGrp="1"/>
          </p:cNvSpPr>
          <p:nvPr>
            <p:ph type="title"/>
          </p:nvPr>
        </p:nvSpPr>
        <p:spPr>
          <a:xfrm>
            <a:off x="2871600" y="445500"/>
            <a:ext cx="6513513" cy="401550"/>
          </a:xfrm>
        </p:spPr>
        <p:txBody>
          <a:bodyPr/>
          <a:lstStyle/>
          <a:p>
            <a:r>
              <a:rPr lang="de-DE" altLang="de-DE" dirty="0" smtClean="0"/>
              <a:t>Hydrojet OXL NS 25 x 2 </a:t>
            </a:r>
            <a:r>
              <a:rPr lang="de-DE" altLang="de-DE" dirty="0" smtClean="0"/>
              <a:t>(Installation</a:t>
            </a:r>
            <a:r>
              <a:rPr lang="de-DE" altLang="de-DE" dirty="0" smtClean="0"/>
              <a:t>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1200" y="1871100"/>
            <a:ext cx="7019738" cy="496150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24579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de-DE" altLang="de-DE">
              <a:solidFill>
                <a:srgbClr val="191919"/>
              </a:solidFill>
            </a:endParaRPr>
          </a:p>
        </p:txBody>
      </p:sp>
      <p:sp>
        <p:nvSpPr>
          <p:cNvPr id="24580" name="Text Box 4"/>
          <p:cNvSpPr txBox="1">
            <a:spLocks noChangeArrowheads="1"/>
          </p:cNvSpPr>
          <p:nvPr/>
        </p:nvSpPr>
        <p:spPr bwMode="auto">
          <a:xfrm>
            <a:off x="4227862" y="3340250"/>
            <a:ext cx="2212275" cy="86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  <a:buClrTx/>
              <a:buFontTx/>
              <a:buNone/>
            </a:pPr>
            <a:r>
              <a:rPr lang="de-DE" altLang="de-DE" sz="3600" b="1" dirty="0">
                <a:solidFill>
                  <a:schemeClr val="bg1"/>
                </a:solidFill>
              </a:rPr>
              <a:t>Q &amp; A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2741613" y="143100"/>
            <a:ext cx="6496050" cy="704850"/>
          </a:xfrm>
        </p:spPr>
        <p:txBody>
          <a:bodyPr/>
          <a:lstStyle/>
          <a:p>
            <a:pPr eaLnBrk="1" hangingPunct="1"/>
            <a:r>
              <a:rPr lang="en-GB" altLang="de-DE" dirty="0" err="1" smtClean="0"/>
              <a:t>Hydrojet</a:t>
            </a:r>
            <a:r>
              <a:rPr lang="en-GB" altLang="de-DE" dirty="0" smtClean="0"/>
              <a:t> OXL Series</a:t>
            </a:r>
          </a:p>
        </p:txBody>
      </p:sp>
      <p:sp>
        <p:nvSpPr>
          <p:cNvPr id="5123" name="Textfeld 3"/>
          <p:cNvSpPr txBox="1">
            <a:spLocks noChangeArrowheads="1"/>
          </p:cNvSpPr>
          <p:nvPr/>
        </p:nvSpPr>
        <p:spPr bwMode="auto">
          <a:xfrm>
            <a:off x="279600" y="2114551"/>
            <a:ext cx="7388225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de-DE" altLang="de-DE" sz="2000" b="1" dirty="0"/>
              <a:t>Oversized grease separators for large scaled projects (catering services, universities, shopping malls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2000" y="2778300"/>
            <a:ext cx="3343275" cy="4286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6147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de-DE" altLang="de-DE">
              <a:solidFill>
                <a:srgbClr val="191919"/>
              </a:solidFill>
            </a:endParaRPr>
          </a:p>
        </p:txBody>
      </p:sp>
      <p:sp>
        <p:nvSpPr>
          <p:cNvPr id="6148" name="Text Box 4"/>
          <p:cNvSpPr txBox="1">
            <a:spLocks noChangeArrowheads="1"/>
          </p:cNvSpPr>
          <p:nvPr/>
        </p:nvSpPr>
        <p:spPr bwMode="auto">
          <a:xfrm>
            <a:off x="2802262" y="3340250"/>
            <a:ext cx="5063475" cy="86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  <a:buClrTx/>
              <a:buFontTx/>
              <a:buNone/>
            </a:pPr>
            <a:r>
              <a:rPr lang="de-DE" altLang="de-DE" sz="3600" b="1" dirty="0">
                <a:solidFill>
                  <a:schemeClr val="bg1"/>
                </a:solidFill>
              </a:rPr>
              <a:t>Available Sizes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272700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dirty="0" smtClean="0"/>
              <a:t>Available Sizes – </a:t>
            </a:r>
            <a:r>
              <a:rPr lang="de-DE" altLang="de-DE" dirty="0" smtClean="0"/>
              <a:t>Maximum Dimensions</a:t>
            </a:r>
            <a:endParaRPr lang="de-DE" altLang="de-DE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400" y="1445025"/>
            <a:ext cx="5715000" cy="61055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itel 1"/>
          <p:cNvSpPr>
            <a:spLocks noGrp="1"/>
          </p:cNvSpPr>
          <p:nvPr>
            <p:ph type="title"/>
          </p:nvPr>
        </p:nvSpPr>
        <p:spPr>
          <a:xfrm>
            <a:off x="2742000" y="99900"/>
            <a:ext cx="6513513" cy="704850"/>
          </a:xfrm>
        </p:spPr>
        <p:txBody>
          <a:bodyPr/>
          <a:lstStyle/>
          <a:p>
            <a:r>
              <a:rPr lang="de-DE" altLang="de-DE" dirty="0" smtClean="0"/>
              <a:t>Feature </a:t>
            </a:r>
            <a:r>
              <a:rPr lang="de-DE" altLang="de-DE" dirty="0" smtClean="0"/>
              <a:t>Items</a:t>
            </a:r>
            <a:endParaRPr lang="de-DE" altLang="de-DE" dirty="0" smtClean="0"/>
          </a:p>
        </p:txBody>
      </p:sp>
      <p:sp>
        <p:nvSpPr>
          <p:cNvPr id="8196" name="Textfeld 1"/>
          <p:cNvSpPr txBox="1">
            <a:spLocks noChangeArrowheads="1"/>
          </p:cNvSpPr>
          <p:nvPr/>
        </p:nvSpPr>
        <p:spPr bwMode="auto">
          <a:xfrm>
            <a:off x="1773988" y="6473713"/>
            <a:ext cx="73882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de-DE" altLang="de-DE" sz="2000" b="1" dirty="0">
                <a:solidFill>
                  <a:srgbClr val="191919"/>
                </a:solidFill>
              </a:rPr>
              <a:t>One inspection window for </a:t>
            </a:r>
            <a:r>
              <a:rPr lang="de-DE" altLang="de-DE" sz="2000" b="1" u="sng" dirty="0">
                <a:solidFill>
                  <a:srgbClr val="191919"/>
                </a:solidFill>
              </a:rPr>
              <a:t>grease</a:t>
            </a:r>
            <a:r>
              <a:rPr lang="de-DE" altLang="de-DE" sz="2000" b="1" dirty="0">
                <a:solidFill>
                  <a:srgbClr val="191919"/>
                </a:solidFill>
              </a:rPr>
              <a:t> level control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de-DE" altLang="de-DE" sz="2000" b="1" dirty="0">
                <a:solidFill>
                  <a:srgbClr val="191919"/>
                </a:solidFill>
              </a:rPr>
              <a:t>One inspection window for </a:t>
            </a:r>
            <a:r>
              <a:rPr lang="de-DE" altLang="de-DE" sz="2000" b="1" u="sng" dirty="0">
                <a:solidFill>
                  <a:srgbClr val="191919"/>
                </a:solidFill>
              </a:rPr>
              <a:t>sludge</a:t>
            </a:r>
            <a:r>
              <a:rPr lang="de-DE" altLang="de-DE" sz="2000" b="1" dirty="0">
                <a:solidFill>
                  <a:srgbClr val="191919"/>
                </a:solidFill>
              </a:rPr>
              <a:t> level control</a:t>
            </a:r>
            <a:endParaRPr lang="de-DE" altLang="de-DE" sz="2400" b="1" dirty="0">
              <a:solidFill>
                <a:srgbClr val="191919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8212" y="1827900"/>
            <a:ext cx="5819775" cy="41719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Titel 1"/>
          <p:cNvSpPr>
            <a:spLocks noGrp="1"/>
          </p:cNvSpPr>
          <p:nvPr>
            <p:ph type="title"/>
          </p:nvPr>
        </p:nvSpPr>
        <p:spPr>
          <a:xfrm>
            <a:off x="2871600" y="99900"/>
            <a:ext cx="6513513" cy="704850"/>
          </a:xfrm>
        </p:spPr>
        <p:txBody>
          <a:bodyPr/>
          <a:lstStyle/>
          <a:p>
            <a:r>
              <a:rPr lang="de-DE" altLang="de-DE" dirty="0" smtClean="0"/>
              <a:t>Scope of </a:t>
            </a:r>
            <a:r>
              <a:rPr lang="de-DE" altLang="de-DE" dirty="0" smtClean="0"/>
              <a:t>Delivery </a:t>
            </a:r>
            <a:r>
              <a:rPr lang="de-DE" altLang="de-DE" dirty="0" smtClean="0"/>
              <a:t>– </a:t>
            </a:r>
            <a:r>
              <a:rPr lang="de-DE" altLang="de-DE" dirty="0" smtClean="0"/>
              <a:t>Significant Items </a:t>
            </a:r>
            <a:endParaRPr lang="de-DE" altLang="de-DE" dirty="0" smtClean="0"/>
          </a:p>
        </p:txBody>
      </p:sp>
      <p:sp>
        <p:nvSpPr>
          <p:cNvPr id="11" name="Textfeld 1"/>
          <p:cNvSpPr txBox="1">
            <a:spLocks noChangeArrowheads="1"/>
          </p:cNvSpPr>
          <p:nvPr/>
        </p:nvSpPr>
        <p:spPr bwMode="auto">
          <a:xfrm>
            <a:off x="2137200" y="6123782"/>
            <a:ext cx="7058025" cy="138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  <a:defRPr/>
            </a:pPr>
            <a:r>
              <a:rPr lang="de-DE" altLang="de-DE" sz="2000" b="1" dirty="0" smtClean="0"/>
              <a:t>One pre-wired control box with programme preset and ready for plug-in</a:t>
            </a:r>
          </a:p>
          <a:p>
            <a:pPr eaLnBrk="1" hangingPunct="1">
              <a:buFont typeface="Wingdings" pitchFamily="2" charset="2"/>
              <a:buChar char="§"/>
              <a:defRPr/>
            </a:pPr>
            <a:endParaRPr lang="de-DE" altLang="de-DE" sz="2000" b="1" dirty="0" smtClean="0"/>
          </a:p>
          <a:p>
            <a:pPr marL="0" indent="0" eaLnBrk="1" hangingPunct="1">
              <a:defRPr/>
            </a:pPr>
            <a:endParaRPr lang="de-DE" altLang="de-DE" sz="2400" b="1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0000" y="1611900"/>
            <a:ext cx="6400800" cy="4286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itel 1"/>
          <p:cNvSpPr>
            <a:spLocks noGrp="1"/>
          </p:cNvSpPr>
          <p:nvPr>
            <p:ph type="title"/>
          </p:nvPr>
        </p:nvSpPr>
        <p:spPr>
          <a:xfrm>
            <a:off x="2897981" y="117476"/>
            <a:ext cx="6513513" cy="704850"/>
          </a:xfrm>
        </p:spPr>
        <p:txBody>
          <a:bodyPr/>
          <a:lstStyle/>
          <a:p>
            <a:r>
              <a:rPr lang="de-DE" altLang="de-DE" dirty="0" smtClean="0"/>
              <a:t>Feature </a:t>
            </a:r>
            <a:r>
              <a:rPr lang="de-DE" altLang="de-DE" dirty="0" smtClean="0"/>
              <a:t>Items</a:t>
            </a:r>
            <a:endParaRPr lang="de-DE" altLang="de-DE" dirty="0" smtClean="0"/>
          </a:p>
        </p:txBody>
      </p:sp>
      <p:sp>
        <p:nvSpPr>
          <p:cNvPr id="11" name="Textfeld 1"/>
          <p:cNvSpPr txBox="1">
            <a:spLocks noChangeArrowheads="1"/>
          </p:cNvSpPr>
          <p:nvPr/>
        </p:nvSpPr>
        <p:spPr bwMode="auto">
          <a:xfrm>
            <a:off x="1920875" y="6438902"/>
            <a:ext cx="705802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  <a:defRPr/>
            </a:pPr>
            <a:r>
              <a:rPr lang="de-DE" altLang="de-DE" sz="2000" b="1" dirty="0" smtClean="0"/>
              <a:t>Two high pressure spray heads (1) operated via two high pressure pumps (2</a:t>
            </a:r>
            <a:r>
              <a:rPr lang="de-DE" altLang="de-DE" sz="2000" b="1" dirty="0" smtClean="0"/>
              <a:t>)</a:t>
            </a:r>
            <a:endParaRPr lang="de-DE" altLang="de-DE" sz="2400" b="1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450" y="1552575"/>
            <a:ext cx="10325100" cy="44386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Titel 1"/>
          <p:cNvSpPr>
            <a:spLocks noGrp="1"/>
          </p:cNvSpPr>
          <p:nvPr>
            <p:ph type="title"/>
          </p:nvPr>
        </p:nvSpPr>
        <p:spPr>
          <a:xfrm>
            <a:off x="2692381" y="334375"/>
            <a:ext cx="6513513" cy="487950"/>
          </a:xfrm>
        </p:spPr>
        <p:txBody>
          <a:bodyPr/>
          <a:lstStyle/>
          <a:p>
            <a:r>
              <a:rPr lang="de-DE" altLang="de-DE" dirty="0" smtClean="0"/>
              <a:t>Feature items</a:t>
            </a:r>
          </a:p>
        </p:txBody>
      </p:sp>
      <p:sp>
        <p:nvSpPr>
          <p:cNvPr id="11268" name="Textfeld 1"/>
          <p:cNvSpPr txBox="1">
            <a:spLocks noChangeArrowheads="1"/>
          </p:cNvSpPr>
          <p:nvPr/>
        </p:nvSpPr>
        <p:spPr bwMode="auto">
          <a:xfrm>
            <a:off x="1876269" y="6704245"/>
            <a:ext cx="70580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Char char="§"/>
            </a:pPr>
            <a:r>
              <a:rPr lang="de-DE" altLang="de-DE" sz="2000" b="1" dirty="0">
                <a:solidFill>
                  <a:srgbClr val="191919"/>
                </a:solidFill>
              </a:rPr>
              <a:t>One disposal pump for regular empyting</a:t>
            </a:r>
            <a:endParaRPr lang="de-DE" altLang="de-DE" sz="2400" b="1" dirty="0">
              <a:solidFill>
                <a:srgbClr val="191919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7756" y="1548722"/>
            <a:ext cx="6115050" cy="44291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  <p:tag name="COLORPALETTEDESIGNATOR" val="ACO"/>
  <p:tag name="EXTENDEDCOLORPALETTEDESIGNATOR" val="ACO"/>
  <p:tag name="DATE" val="19 July 2010"/>
  <p:tag name="TOWN" val="Pribyslav"/>
  <p:tag name="AUTHOR" val="Zuzana Vlková Vošická"/>
  <p:tag name="TITLE" val="System House Modula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Y2SnSpd0u2wfeDB1tW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9Rybg9UOdldqly00l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L0Fo5Oh0ePAQlzmIhC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Xt1RJMJEClew03vzsa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bXu91ZNUesk6bcfSPb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heme/theme1.xml><?xml version="1.0" encoding="utf-8"?>
<a:theme xmlns:a="http://schemas.openxmlformats.org/drawingml/2006/main" name="3_Benutzerdefiniertes Design">
  <a:themeElements>
    <a:clrScheme name="2_Benutzerdefiniertes Design 1">
      <a:dk1>
        <a:srgbClr val="000000"/>
      </a:dk1>
      <a:lt1>
        <a:srgbClr val="FFFFFF"/>
      </a:lt1>
      <a:dk2>
        <a:srgbClr val="FABA00"/>
      </a:dk2>
      <a:lt2>
        <a:srgbClr val="95AE17"/>
      </a:lt2>
      <a:accent1>
        <a:srgbClr val="E2001A"/>
      </a:accent1>
      <a:accent2>
        <a:srgbClr val="005A9A"/>
      </a:accent2>
      <a:accent3>
        <a:srgbClr val="FFFFFF"/>
      </a:accent3>
      <a:accent4>
        <a:srgbClr val="000000"/>
      </a:accent4>
      <a:accent5>
        <a:srgbClr val="EEAAAB"/>
      </a:accent5>
      <a:accent6>
        <a:srgbClr val="00518B"/>
      </a:accent6>
      <a:hlink>
        <a:srgbClr val="5ABEE4"/>
      </a:hlink>
      <a:folHlink>
        <a:srgbClr val="EC7405"/>
      </a:folHlink>
    </a:clrScheme>
    <a:fontScheme name="2_Benutzerdefiniertes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FABA00"/>
        </a:dk2>
        <a:lt2>
          <a:srgbClr val="95AE17"/>
        </a:lt2>
        <a:accent1>
          <a:srgbClr val="E2001A"/>
        </a:accent1>
        <a:accent2>
          <a:srgbClr val="005A9A"/>
        </a:accent2>
        <a:accent3>
          <a:srgbClr val="FFFFFF"/>
        </a:accent3>
        <a:accent4>
          <a:srgbClr val="000000"/>
        </a:accent4>
        <a:accent5>
          <a:srgbClr val="EEAAAB"/>
        </a:accent5>
        <a:accent6>
          <a:srgbClr val="00518B"/>
        </a:accent6>
        <a:hlink>
          <a:srgbClr val="5ABEE4"/>
        </a:hlink>
        <a:folHlink>
          <a:srgbClr val="EC74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</TotalTime>
  <Words>339</Words>
  <Application>Microsoft Office PowerPoint</Application>
  <PresentationFormat>Custom</PresentationFormat>
  <Paragraphs>70</Paragraphs>
  <Slides>22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Arial</vt:lpstr>
      <vt:lpstr>Times New Roman</vt:lpstr>
      <vt:lpstr>Verdana</vt:lpstr>
      <vt:lpstr>Wingdings</vt:lpstr>
      <vt:lpstr>3_Benutzerdefiniertes Design</vt:lpstr>
      <vt:lpstr>Hydrojet OXL Series</vt:lpstr>
      <vt:lpstr>Headline, Verdana Fett 20 P. Maximal  zwei Zeilen. Zeilenabstand 1,1 Zeilen.</vt:lpstr>
      <vt:lpstr>Hydrojet OXL Series</vt:lpstr>
      <vt:lpstr>Headline, Verdana Fett 20 P. Maximal  zwei Zeilen. Zeilenabstand 1,1 Zeilen.</vt:lpstr>
      <vt:lpstr>Available Sizes – Maximum Dimensions</vt:lpstr>
      <vt:lpstr>Feature Items</vt:lpstr>
      <vt:lpstr>Scope of Delivery – Significant Items </vt:lpstr>
      <vt:lpstr>Feature Items</vt:lpstr>
      <vt:lpstr>Feature items</vt:lpstr>
      <vt:lpstr>Headline, Verdana Fett 20 P. Maximal  zwei Zeilen. Zeilenabstand 1,1 Zeilen.</vt:lpstr>
      <vt:lpstr>Feature items: High Pressure Cleaning</vt:lpstr>
      <vt:lpstr>Feature items: High Pressure Cleaning</vt:lpstr>
      <vt:lpstr>PowerPoint Presentation</vt:lpstr>
      <vt:lpstr>Feature items: High Pressure Cleaning</vt:lpstr>
      <vt:lpstr>Special Pump  AS840 (3,7 kW)</vt:lpstr>
      <vt:lpstr>Headline, Verdana Fett 20 P. Maximal  zwei Zeilen. Zeilenabstand 1,1 Zeilen.</vt:lpstr>
      <vt:lpstr>Two Pump Systems for Two Processes</vt:lpstr>
      <vt:lpstr>Headline, Verdana Fett 20 P. Maximal  zwei Zeilen. Zeilenabstand 1,1 Zeilen.</vt:lpstr>
      <vt:lpstr>Hydrojet OXL NS 15</vt:lpstr>
      <vt:lpstr>Hydrojet OXL NS 25 (bodies)</vt:lpstr>
      <vt:lpstr>Hydrojet OXL NS 25 x 2 (Installation)</vt:lpstr>
      <vt:lpstr>Headline, Verdana Fett 20 P. Maximal  zwei Zeilen. Zeilenabstand 1,1 Zeilen.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CM China</dc:title>
  <dc:creator>ZuzanaVV</dc:creator>
  <cp:lastModifiedBy>admin</cp:lastModifiedBy>
  <cp:revision>1020</cp:revision>
  <cp:lastPrinted>2014-10-23T08:06:24Z</cp:lastPrinted>
  <dcterms:created xsi:type="dcterms:W3CDTF">2001-04-09T09:41:54Z</dcterms:created>
  <dcterms:modified xsi:type="dcterms:W3CDTF">2016-11-28T07:28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">
    <vt:lpwstr>ACO_template.pot</vt:lpwstr>
  </property>
</Properties>
</file>